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61" r:id="rId5"/>
    <p:sldId id="262" r:id="rId6"/>
    <p:sldId id="260" r:id="rId7"/>
    <p:sldId id="265" r:id="rId8"/>
    <p:sldId id="264" r:id="rId9"/>
    <p:sldId id="263" r:id="rId10"/>
    <p:sldId id="259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56C945-A97F-47C6-86A4-BDECB6C7AEF7}" v="3" dt="2024-02-08T14:20:52.1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2227" autoAdjust="0"/>
  </p:normalViewPr>
  <p:slideViewPr>
    <p:cSldViewPr snapToGrid="0">
      <p:cViewPr varScale="1">
        <p:scale>
          <a:sx n="102" d="100"/>
          <a:sy n="102" d="100"/>
        </p:scale>
        <p:origin x="89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e Brassil" userId="059a94ed-ecda-4364-988f-cd5cd65437ae" providerId="ADAL" clId="{1056C945-A97F-47C6-86A4-BDECB6C7AEF7}"/>
    <pc:docChg chg="custSel addSld modSld">
      <pc:chgData name="Lee Brassil" userId="059a94ed-ecda-4364-988f-cd5cd65437ae" providerId="ADAL" clId="{1056C945-A97F-47C6-86A4-BDECB6C7AEF7}" dt="2024-02-09T12:54:40.063" v="948" actId="20577"/>
      <pc:docMkLst>
        <pc:docMk/>
      </pc:docMkLst>
      <pc:sldChg chg="modSp mod">
        <pc:chgData name="Lee Brassil" userId="059a94ed-ecda-4364-988f-cd5cd65437ae" providerId="ADAL" clId="{1056C945-A97F-47C6-86A4-BDECB6C7AEF7}" dt="2024-02-09T12:09:57.383" v="944" actId="20577"/>
        <pc:sldMkLst>
          <pc:docMk/>
          <pc:sldMk cId="995232375" sldId="258"/>
        </pc:sldMkLst>
        <pc:spChg chg="mod">
          <ac:chgData name="Lee Brassil" userId="059a94ed-ecda-4364-988f-cd5cd65437ae" providerId="ADAL" clId="{1056C945-A97F-47C6-86A4-BDECB6C7AEF7}" dt="2024-02-09T12:09:57.383" v="944" actId="20577"/>
          <ac:spMkLst>
            <pc:docMk/>
            <pc:sldMk cId="995232375" sldId="258"/>
            <ac:spMk id="3" creationId="{3C88920B-6EB9-B213-77F3-A33B7A8EC4EC}"/>
          </ac:spMkLst>
        </pc:spChg>
      </pc:sldChg>
      <pc:sldChg chg="modSp mod">
        <pc:chgData name="Lee Brassil" userId="059a94ed-ecda-4364-988f-cd5cd65437ae" providerId="ADAL" clId="{1056C945-A97F-47C6-86A4-BDECB6C7AEF7}" dt="2024-02-08T14:20:52.130" v="941" actId="20577"/>
        <pc:sldMkLst>
          <pc:docMk/>
          <pc:sldMk cId="3576807714" sldId="259"/>
        </pc:sldMkLst>
        <pc:spChg chg="mod">
          <ac:chgData name="Lee Brassil" userId="059a94ed-ecda-4364-988f-cd5cd65437ae" providerId="ADAL" clId="{1056C945-A97F-47C6-86A4-BDECB6C7AEF7}" dt="2024-02-08T14:20:52.130" v="941" actId="20577"/>
          <ac:spMkLst>
            <pc:docMk/>
            <pc:sldMk cId="3576807714" sldId="259"/>
            <ac:spMk id="3" creationId="{4AF9F80A-7DBE-F208-3884-C6802DE625FE}"/>
          </ac:spMkLst>
        </pc:spChg>
      </pc:sldChg>
      <pc:sldChg chg="modSp mod">
        <pc:chgData name="Lee Brassil" userId="059a94ed-ecda-4364-988f-cd5cd65437ae" providerId="ADAL" clId="{1056C945-A97F-47C6-86A4-BDECB6C7AEF7}" dt="2024-02-08T10:34:21.806" v="420" actId="27636"/>
        <pc:sldMkLst>
          <pc:docMk/>
          <pc:sldMk cId="304597659" sldId="260"/>
        </pc:sldMkLst>
        <pc:spChg chg="mod">
          <ac:chgData name="Lee Brassil" userId="059a94ed-ecda-4364-988f-cd5cd65437ae" providerId="ADAL" clId="{1056C945-A97F-47C6-86A4-BDECB6C7AEF7}" dt="2024-02-08T10:34:21.806" v="420" actId="27636"/>
          <ac:spMkLst>
            <pc:docMk/>
            <pc:sldMk cId="304597659" sldId="260"/>
            <ac:spMk id="3" creationId="{3C88920B-6EB9-B213-77F3-A33B7A8EC4EC}"/>
          </ac:spMkLst>
        </pc:spChg>
      </pc:sldChg>
      <pc:sldChg chg="addSp modSp mod">
        <pc:chgData name="Lee Brassil" userId="059a94ed-ecda-4364-988f-cd5cd65437ae" providerId="ADAL" clId="{1056C945-A97F-47C6-86A4-BDECB6C7AEF7}" dt="2024-02-09T12:54:40.063" v="948" actId="20577"/>
        <pc:sldMkLst>
          <pc:docMk/>
          <pc:sldMk cId="2197125067" sldId="263"/>
        </pc:sldMkLst>
        <pc:spChg chg="mod">
          <ac:chgData name="Lee Brassil" userId="059a94ed-ecda-4364-988f-cd5cd65437ae" providerId="ADAL" clId="{1056C945-A97F-47C6-86A4-BDECB6C7AEF7}" dt="2024-02-07T17:16:28.819" v="10" actId="1076"/>
          <ac:spMkLst>
            <pc:docMk/>
            <pc:sldMk cId="2197125067" sldId="263"/>
            <ac:spMk id="2" creationId="{A841501F-6186-C772-A1E4-3FFC65BB12C5}"/>
          </ac:spMkLst>
        </pc:spChg>
        <pc:spChg chg="add mod">
          <ac:chgData name="Lee Brassil" userId="059a94ed-ecda-4364-988f-cd5cd65437ae" providerId="ADAL" clId="{1056C945-A97F-47C6-86A4-BDECB6C7AEF7}" dt="2024-02-09T12:54:40.063" v="948" actId="20577"/>
          <ac:spMkLst>
            <pc:docMk/>
            <pc:sldMk cId="2197125067" sldId="263"/>
            <ac:spMk id="3" creationId="{71CB3FF4-36C2-E9D6-7523-2C118A4566F9}"/>
          </ac:spMkLst>
        </pc:spChg>
      </pc:sldChg>
      <pc:sldChg chg="modSp add mod">
        <pc:chgData name="Lee Brassil" userId="059a94ed-ecda-4364-988f-cd5cd65437ae" providerId="ADAL" clId="{1056C945-A97F-47C6-86A4-BDECB6C7AEF7}" dt="2024-02-07T17:16:08.025" v="9" actId="20577"/>
        <pc:sldMkLst>
          <pc:docMk/>
          <pc:sldMk cId="4065006203" sldId="264"/>
        </pc:sldMkLst>
        <pc:spChg chg="mod">
          <ac:chgData name="Lee Brassil" userId="059a94ed-ecda-4364-988f-cd5cd65437ae" providerId="ADAL" clId="{1056C945-A97F-47C6-86A4-BDECB6C7AEF7}" dt="2024-02-07T17:16:08.025" v="9" actId="20577"/>
          <ac:spMkLst>
            <pc:docMk/>
            <pc:sldMk cId="4065006203" sldId="264"/>
            <ac:spMk id="2" creationId="{73A2A11F-B56F-9683-0D78-887C2FCF212F}"/>
          </ac:spMkLst>
        </pc:spChg>
      </pc:sldChg>
      <pc:sldChg chg="addSp delSp modSp new mod">
        <pc:chgData name="Lee Brassil" userId="059a94ed-ecda-4364-988f-cd5cd65437ae" providerId="ADAL" clId="{1056C945-A97F-47C6-86A4-BDECB6C7AEF7}" dt="2024-02-08T10:29:58.583" v="86" actId="122"/>
        <pc:sldMkLst>
          <pc:docMk/>
          <pc:sldMk cId="1745753447" sldId="265"/>
        </pc:sldMkLst>
        <pc:spChg chg="mod">
          <ac:chgData name="Lee Brassil" userId="059a94ed-ecda-4364-988f-cd5cd65437ae" providerId="ADAL" clId="{1056C945-A97F-47C6-86A4-BDECB6C7AEF7}" dt="2024-02-08T10:29:58.583" v="86" actId="122"/>
          <ac:spMkLst>
            <pc:docMk/>
            <pc:sldMk cId="1745753447" sldId="265"/>
            <ac:spMk id="2" creationId="{FE263296-BF1A-67B4-37CF-8F8B27B08E6D}"/>
          </ac:spMkLst>
        </pc:spChg>
        <pc:spChg chg="del">
          <ac:chgData name="Lee Brassil" userId="059a94ed-ecda-4364-988f-cd5cd65437ae" providerId="ADAL" clId="{1056C945-A97F-47C6-86A4-BDECB6C7AEF7}" dt="2024-02-08T10:29:43.654" v="66" actId="22"/>
          <ac:spMkLst>
            <pc:docMk/>
            <pc:sldMk cId="1745753447" sldId="265"/>
            <ac:spMk id="3" creationId="{8027B7B1-65F5-45F9-177E-88EF18C1F943}"/>
          </ac:spMkLst>
        </pc:spChg>
        <pc:picChg chg="add mod ord">
          <ac:chgData name="Lee Brassil" userId="059a94ed-ecda-4364-988f-cd5cd65437ae" providerId="ADAL" clId="{1056C945-A97F-47C6-86A4-BDECB6C7AEF7}" dt="2024-02-08T10:29:43.654" v="66" actId="22"/>
          <ac:picMkLst>
            <pc:docMk/>
            <pc:sldMk cId="1745753447" sldId="265"/>
            <ac:picMk id="5" creationId="{18EB8065-B3AB-460F-A030-E5980DD0CE74}"/>
          </ac:picMkLst>
        </pc:picChg>
      </pc:sldChg>
    </pc:docChg>
  </pc:docChgLst>
  <pc:docChgLst>
    <pc:chgData name="Lee Brassil" userId="059a94ed-ecda-4364-988f-cd5cd65437ae" providerId="ADAL" clId="{7B734219-4F64-4AA4-A017-389157A6F1CA}"/>
    <pc:docChg chg="undo custSel addSld modSld">
      <pc:chgData name="Lee Brassil" userId="059a94ed-ecda-4364-988f-cd5cd65437ae" providerId="ADAL" clId="{7B734219-4F64-4AA4-A017-389157A6F1CA}" dt="2024-01-30T14:00:30.070" v="1179" actId="1076"/>
      <pc:docMkLst>
        <pc:docMk/>
      </pc:docMkLst>
      <pc:sldChg chg="modSp new mod modNotesTx">
        <pc:chgData name="Lee Brassil" userId="059a94ed-ecda-4364-988f-cd5cd65437ae" providerId="ADAL" clId="{7B734219-4F64-4AA4-A017-389157A6F1CA}" dt="2024-01-30T12:04:55.762" v="1132" actId="20577"/>
        <pc:sldMkLst>
          <pc:docMk/>
          <pc:sldMk cId="995232375" sldId="258"/>
        </pc:sldMkLst>
        <pc:spChg chg="mod">
          <ac:chgData name="Lee Brassil" userId="059a94ed-ecda-4364-988f-cd5cd65437ae" providerId="ADAL" clId="{7B734219-4F64-4AA4-A017-389157A6F1CA}" dt="2024-01-30T11:40:49.689" v="139" actId="20577"/>
          <ac:spMkLst>
            <pc:docMk/>
            <pc:sldMk cId="995232375" sldId="258"/>
            <ac:spMk id="2" creationId="{020DAABE-5A0D-0217-4491-C728C2EACFA8}"/>
          </ac:spMkLst>
        </pc:spChg>
        <pc:spChg chg="mod">
          <ac:chgData name="Lee Brassil" userId="059a94ed-ecda-4364-988f-cd5cd65437ae" providerId="ADAL" clId="{7B734219-4F64-4AA4-A017-389157A6F1CA}" dt="2024-01-30T12:04:55.762" v="1132" actId="20577"/>
          <ac:spMkLst>
            <pc:docMk/>
            <pc:sldMk cId="995232375" sldId="258"/>
            <ac:spMk id="3" creationId="{3C88920B-6EB9-B213-77F3-A33B7A8EC4EC}"/>
          </ac:spMkLst>
        </pc:spChg>
      </pc:sldChg>
      <pc:sldChg chg="modSp new mod">
        <pc:chgData name="Lee Brassil" userId="059a94ed-ecda-4364-988f-cd5cd65437ae" providerId="ADAL" clId="{7B734219-4F64-4AA4-A017-389157A6F1CA}" dt="2024-01-30T11:39:21.049" v="48" actId="20577"/>
        <pc:sldMkLst>
          <pc:docMk/>
          <pc:sldMk cId="3576807714" sldId="259"/>
        </pc:sldMkLst>
        <pc:spChg chg="mod">
          <ac:chgData name="Lee Brassil" userId="059a94ed-ecda-4364-988f-cd5cd65437ae" providerId="ADAL" clId="{7B734219-4F64-4AA4-A017-389157A6F1CA}" dt="2024-01-30T11:39:13.520" v="45" actId="20577"/>
          <ac:spMkLst>
            <pc:docMk/>
            <pc:sldMk cId="3576807714" sldId="259"/>
            <ac:spMk id="2" creationId="{38910DFF-9522-C6F1-9F06-97E4C6351250}"/>
          </ac:spMkLst>
        </pc:spChg>
        <pc:spChg chg="mod">
          <ac:chgData name="Lee Brassil" userId="059a94ed-ecda-4364-988f-cd5cd65437ae" providerId="ADAL" clId="{7B734219-4F64-4AA4-A017-389157A6F1CA}" dt="2024-01-30T11:39:21.049" v="48" actId="20577"/>
          <ac:spMkLst>
            <pc:docMk/>
            <pc:sldMk cId="3576807714" sldId="259"/>
            <ac:spMk id="3" creationId="{4AF9F80A-7DBE-F208-3884-C6802DE625FE}"/>
          </ac:spMkLst>
        </pc:spChg>
      </pc:sldChg>
      <pc:sldChg chg="add">
        <pc:chgData name="Lee Brassil" userId="059a94ed-ecda-4364-988f-cd5cd65437ae" providerId="ADAL" clId="{7B734219-4F64-4AA4-A017-389157A6F1CA}" dt="2024-01-30T11:40:40.963" v="119"/>
        <pc:sldMkLst>
          <pc:docMk/>
          <pc:sldMk cId="304597659" sldId="260"/>
        </pc:sldMkLst>
      </pc:sldChg>
      <pc:sldChg chg="addSp delSp modSp new mod">
        <pc:chgData name="Lee Brassil" userId="059a94ed-ecda-4364-988f-cd5cd65437ae" providerId="ADAL" clId="{7B734219-4F64-4AA4-A017-389157A6F1CA}" dt="2024-01-30T13:59:28.868" v="1137" actId="1076"/>
        <pc:sldMkLst>
          <pc:docMk/>
          <pc:sldMk cId="4151247280" sldId="261"/>
        </pc:sldMkLst>
        <pc:spChg chg="mod">
          <ac:chgData name="Lee Brassil" userId="059a94ed-ecda-4364-988f-cd5cd65437ae" providerId="ADAL" clId="{7B734219-4F64-4AA4-A017-389157A6F1CA}" dt="2024-01-30T11:49:50.393" v="890" actId="20577"/>
          <ac:spMkLst>
            <pc:docMk/>
            <pc:sldMk cId="4151247280" sldId="261"/>
            <ac:spMk id="2" creationId="{EAFA64F2-6C73-B6C9-A8EE-5B68C7EC5329}"/>
          </ac:spMkLst>
        </pc:spChg>
        <pc:spChg chg="mod">
          <ac:chgData name="Lee Brassil" userId="059a94ed-ecda-4364-988f-cd5cd65437ae" providerId="ADAL" clId="{7B734219-4F64-4AA4-A017-389157A6F1CA}" dt="2024-01-30T11:59:23.444" v="1015" actId="20577"/>
          <ac:spMkLst>
            <pc:docMk/>
            <pc:sldMk cId="4151247280" sldId="261"/>
            <ac:spMk id="3" creationId="{4CB5D0BA-9EE5-E93B-0BA2-08A4791DE591}"/>
          </ac:spMkLst>
        </pc:spChg>
        <pc:picChg chg="add del mod">
          <ac:chgData name="Lee Brassil" userId="059a94ed-ecda-4364-988f-cd5cd65437ae" providerId="ADAL" clId="{7B734219-4F64-4AA4-A017-389157A6F1CA}" dt="2024-01-30T13:58:14.614" v="1135" actId="478"/>
          <ac:picMkLst>
            <pc:docMk/>
            <pc:sldMk cId="4151247280" sldId="261"/>
            <ac:picMk id="5" creationId="{69E33828-E51E-0B42-30F9-85A6381CCB4B}"/>
          </ac:picMkLst>
        </pc:picChg>
        <pc:picChg chg="add mod">
          <ac:chgData name="Lee Brassil" userId="059a94ed-ecda-4364-988f-cd5cd65437ae" providerId="ADAL" clId="{7B734219-4F64-4AA4-A017-389157A6F1CA}" dt="2024-01-30T13:59:28.868" v="1137" actId="1076"/>
          <ac:picMkLst>
            <pc:docMk/>
            <pc:sldMk cId="4151247280" sldId="261"/>
            <ac:picMk id="7" creationId="{44D0115D-E074-D8C1-527D-AFF0AB7FFEB7}"/>
          </ac:picMkLst>
        </pc:picChg>
      </pc:sldChg>
      <pc:sldChg chg="delSp modSp new mod">
        <pc:chgData name="Lee Brassil" userId="059a94ed-ecda-4364-988f-cd5cd65437ae" providerId="ADAL" clId="{7B734219-4F64-4AA4-A017-389157A6F1CA}" dt="2024-01-30T13:59:59.912" v="1161" actId="1076"/>
        <pc:sldMkLst>
          <pc:docMk/>
          <pc:sldMk cId="2858043940" sldId="262"/>
        </pc:sldMkLst>
        <pc:spChg chg="mod">
          <ac:chgData name="Lee Brassil" userId="059a94ed-ecda-4364-988f-cd5cd65437ae" providerId="ADAL" clId="{7B734219-4F64-4AA4-A017-389157A6F1CA}" dt="2024-01-30T13:59:59.912" v="1161" actId="1076"/>
          <ac:spMkLst>
            <pc:docMk/>
            <pc:sldMk cId="2858043940" sldId="262"/>
            <ac:spMk id="2" creationId="{73A2A11F-B56F-9683-0D78-887C2FCF212F}"/>
          </ac:spMkLst>
        </pc:spChg>
        <pc:spChg chg="del">
          <ac:chgData name="Lee Brassil" userId="059a94ed-ecda-4364-988f-cd5cd65437ae" providerId="ADAL" clId="{7B734219-4F64-4AA4-A017-389157A6F1CA}" dt="2024-01-30T13:59:46.205" v="1139" actId="478"/>
          <ac:spMkLst>
            <pc:docMk/>
            <pc:sldMk cId="2858043940" sldId="262"/>
            <ac:spMk id="3" creationId="{7952CAB5-8CA3-B612-DCAA-88BE8118E294}"/>
          </ac:spMkLst>
        </pc:spChg>
      </pc:sldChg>
      <pc:sldChg chg="delSp modSp new mod">
        <pc:chgData name="Lee Brassil" userId="059a94ed-ecda-4364-988f-cd5cd65437ae" providerId="ADAL" clId="{7B734219-4F64-4AA4-A017-389157A6F1CA}" dt="2024-01-30T14:00:30.070" v="1179" actId="1076"/>
        <pc:sldMkLst>
          <pc:docMk/>
          <pc:sldMk cId="2197125067" sldId="263"/>
        </pc:sldMkLst>
        <pc:spChg chg="mod">
          <ac:chgData name="Lee Brassil" userId="059a94ed-ecda-4364-988f-cd5cd65437ae" providerId="ADAL" clId="{7B734219-4F64-4AA4-A017-389157A6F1CA}" dt="2024-01-30T14:00:30.070" v="1179" actId="1076"/>
          <ac:spMkLst>
            <pc:docMk/>
            <pc:sldMk cId="2197125067" sldId="263"/>
            <ac:spMk id="2" creationId="{A841501F-6186-C772-A1E4-3FFC65BB12C5}"/>
          </ac:spMkLst>
        </pc:spChg>
        <pc:spChg chg="del">
          <ac:chgData name="Lee Brassil" userId="059a94ed-ecda-4364-988f-cd5cd65437ae" providerId="ADAL" clId="{7B734219-4F64-4AA4-A017-389157A6F1CA}" dt="2024-01-30T14:00:20.956" v="1177" actId="478"/>
          <ac:spMkLst>
            <pc:docMk/>
            <pc:sldMk cId="2197125067" sldId="263"/>
            <ac:spMk id="3" creationId="{D2100BC4-6B05-142F-E5EC-FC0823342B6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86B13C-9C31-469E-BC1C-AD8DCAA4BF35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C2230B-24B9-4546-A2D8-C8B128859955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911551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patterns represent best practice approaches to solving the problems</a:t>
            </a:r>
          </a:p>
          <a:p>
            <a:r>
              <a:rPr lang="en-GB" dirty="0"/>
              <a:t>Creational patterns:</a:t>
            </a:r>
          </a:p>
          <a:p>
            <a:r>
              <a:rPr lang="en-GB" dirty="0"/>
              <a:t>-creating objects in a flexible and efficient way</a:t>
            </a:r>
          </a:p>
          <a:p>
            <a:r>
              <a:rPr lang="en-GB" dirty="0"/>
              <a:t>-provide mechanism for creating objects while hiding complexities</a:t>
            </a:r>
          </a:p>
          <a:p>
            <a:endParaRPr lang="en-GB" dirty="0"/>
          </a:p>
          <a:p>
            <a:r>
              <a:rPr lang="en-GB" dirty="0"/>
              <a:t>Structural:</a:t>
            </a:r>
          </a:p>
          <a:p>
            <a:r>
              <a:rPr lang="en-GB" dirty="0"/>
              <a:t>-focus on organising classes into larger structures</a:t>
            </a:r>
          </a:p>
          <a:p>
            <a:r>
              <a:rPr lang="en-GB" dirty="0"/>
              <a:t>-define clear and flexible ways to compose and relate different components</a:t>
            </a:r>
          </a:p>
          <a:p>
            <a:r>
              <a:rPr lang="en-GB" dirty="0"/>
              <a:t>-better able to manage structure of software</a:t>
            </a:r>
          </a:p>
          <a:p>
            <a:endParaRPr lang="en-GB" dirty="0"/>
          </a:p>
          <a:p>
            <a:r>
              <a:rPr lang="en-GB" dirty="0"/>
              <a:t>Behavioural:</a:t>
            </a:r>
          </a:p>
          <a:p>
            <a:r>
              <a:rPr lang="en-GB" dirty="0"/>
              <a:t>-defining how objects interact</a:t>
            </a:r>
          </a:p>
          <a:p>
            <a:r>
              <a:rPr lang="en-GB" dirty="0"/>
              <a:t>-facilitate effective communication between objects + delegation of responsibilities</a:t>
            </a:r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C2230B-24B9-4546-A2D8-C8B128859955}" type="slidenum">
              <a:rPr lang="en-IE" smtClean="0"/>
              <a:t>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66665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paration of concerns – calling method doesn’t need to know which concrete implementation is required. It just needs to know that it can call a particular behaviour on the output</a:t>
            </a:r>
          </a:p>
          <a:p>
            <a:r>
              <a:rPr lang="en-GB" dirty="0"/>
              <a:t>De-coupling of code – changes to one class shouldn’t need changes to another separate class (open/closed principle)</a:t>
            </a:r>
          </a:p>
          <a:p>
            <a:r>
              <a:rPr lang="en-IE" dirty="0"/>
              <a:t>Ease of maintenance – one place to go to extend behaviou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C2230B-24B9-4546-A2D8-C8B128859955}" type="slidenum">
              <a:rPr lang="en-IE" smtClean="0"/>
              <a:t>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02212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361BF-B85D-D9DC-A3B7-23495CE487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554D8C-6A49-D7FC-A190-C67202EDBC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6DB56B-8C02-DBE6-61B7-6ED35783CC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171403-1EE2-BE1B-D504-60E2139834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C4B692-3413-4303-085D-BE3C63D342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963541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0796C-1863-4300-54BA-B5AF10D47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619BAD-251D-AC8D-6DC7-47EFE1DB29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9E9EA6-D5AD-8E21-1739-D758BF0E5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6BFAD2-59AE-1768-5E57-589EE9AFF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B2194-AF1E-6F03-6B34-989F8B289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59093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A18AA41-E432-5711-8465-329F57E9EEF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12C258-4C94-C8DB-507B-F48CD8EDA6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AF3CAF-18CC-BA1B-507F-B67E2B537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0AF4EE-EB7A-9B42-5D11-857B12F02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3B2C62-A6EC-BA73-9F33-9789B5DBF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4324601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6024D-F49D-047B-93C3-272EE22CE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37C6C-1597-51A0-F67F-4FCC295AA2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7C1B28-2E23-A80E-CF4B-4A6CD787F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BA38E-8E9C-DD6A-25D3-4B89F241E2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B11AD5-EA22-036C-6F9D-93B72EC5E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73706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A7EDBD-5E1F-F018-2C63-7E2F14935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2F39D3-3FA8-A918-D782-CD756C1599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51F984-081E-5E09-C7AA-BA6C31FE88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A93A91-612F-13A7-B765-5548DAAED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EF5807-2FF1-9D72-7121-8DA3F8164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551414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5EB71-67E2-04D4-D145-FDA4A76CB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7DB48D-02E6-0375-549E-A29244F915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22B697-4A26-F72D-B52E-20F53493E1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964DDA-80E8-AFE3-1848-812B4D580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29F841-2F13-4CCF-E562-E5145B4E02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9D078C-F43C-258B-A64F-00584E4BF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242832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0C465-0980-6EAF-A83A-22DC99B26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1DCE23-348C-DBF7-0572-0BF1EF93AA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A34A01-B6FB-2526-9CB2-A3BBD95D66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791B3B-852D-30A2-5C20-EA4481FD81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EC6E0E-E644-FFB4-9A8A-22CE752EC9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4B5B1B4-AD5A-4B1C-EED4-087F1A6C8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B40D10-6B0D-5C73-6CBA-94E04CE31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6284CE-78A4-D7F9-DD3F-4DA50463B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222067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91A10B-3451-0710-EFBD-30238B6F6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4F411F-2446-D88A-8B3B-9DE150CB9B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FBBC17-5A25-292B-F539-9E7B8D899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3FBA6E-94F7-2676-92FA-2B5F8A22F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984213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183408-95C1-2B81-EE4C-74F25EDF26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17DA9C-1F58-85C7-988A-2D471E458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1E32C-E3DB-7232-0B54-BA58566D7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7111593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9C3DE-344B-D48F-7CE8-08E12F167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FBEC1A-6697-1682-262D-DB481762BA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12FBFA-9461-AE04-6D08-8C239B7951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F23B3-5775-DFE1-2AD3-BE51497DAD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ED1012-EF3C-02F2-4C33-5F52F62C7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FABCFC-FE6C-BE5F-A32E-A3B6FF90C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4770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AEA90A-68DE-C9A9-F7B8-282F453ECF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BFE243-D16B-7556-0F24-1356C500DC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72F379-47E6-6A48-CCD1-4ACB355C5C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123F6A-6819-6FB2-96EF-87188A9FB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2AEADA-9DA7-08B0-2B5C-3A6F564BD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D52360-ABE5-DB9C-45A7-C7FCDA7BF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2750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7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920D45-C13A-54CF-C886-6193CCBAA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A754AB-31FF-64F1-DA51-92CDB96EBC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1D5912-C2AE-90D6-D47B-83265EBD2E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ADD3F-C896-4361-B931-F3900B264679}" type="datetimeFigureOut">
              <a:rPr lang="en-IE" smtClean="0"/>
              <a:t>09/02/2024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030F61-7A42-C49F-7B36-F1C5C3F8EE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DE7CA3-5437-A8F3-6D12-AB8165858E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34E0E-6F07-42E4-98EC-1E0998E77FF6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135175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refactoring.guru/design-patterns/abstract-factory" TargetMode="External"/><Relationship Id="rId2" Type="http://schemas.openxmlformats.org/officeDocument/2006/relationships/hyperlink" Target="https://www.c-sharpcorner.com/UploadFile/bd5be5/design-patterns-in-net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1B5BD-B7E8-54C0-AAA0-23B06DA830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bstract Factory Pattern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4706098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10DFF-9522-C6F1-9F06-97E4C6351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en-I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F9F80A-7DBE-F208-3884-C6802DE625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E" dirty="0">
                <a:hlinkClick r:id="rId2"/>
              </a:rPr>
              <a:t>https://www.c-sharpcorner.com/UploadFile/bd5be5/design-patterns-in-net/</a:t>
            </a:r>
            <a:r>
              <a:rPr lang="en-IE" dirty="0"/>
              <a:t> </a:t>
            </a:r>
          </a:p>
          <a:p>
            <a:pPr marL="0" indent="0">
              <a:buNone/>
            </a:pPr>
            <a:r>
              <a:rPr lang="en-IE" dirty="0">
                <a:hlinkClick r:id="rId3"/>
              </a:rPr>
              <a:t>https://refactoring.guru/design-patterns/abstract-factory</a:t>
            </a:r>
            <a:r>
              <a:rPr lang="en-I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6807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AD8FE-218B-79A2-A4C7-9C882D1D2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Are Design Patterns?</a:t>
            </a:r>
            <a:endParaRPr lang="en-I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2B2C9E-E57A-E26D-93B9-88B8B4A09A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Reusable solutions to a recurring problem</a:t>
            </a:r>
          </a:p>
          <a:p>
            <a:pPr marL="0" indent="0">
              <a:buNone/>
            </a:pPr>
            <a:r>
              <a:rPr lang="en-GB" dirty="0"/>
              <a:t>The patterns identified by the Gang of Four general fall into one of 3 categories</a:t>
            </a:r>
          </a:p>
          <a:p>
            <a:r>
              <a:rPr lang="en-GB" dirty="0"/>
              <a:t>Creational – how should objects be created</a:t>
            </a:r>
          </a:p>
          <a:p>
            <a:r>
              <a:rPr lang="en-GB" dirty="0"/>
              <a:t>Structural – how should objects be structured</a:t>
            </a:r>
          </a:p>
          <a:p>
            <a:r>
              <a:rPr lang="en-GB" dirty="0"/>
              <a:t>Behavioural – how should objects interact with one another</a:t>
            </a:r>
          </a:p>
        </p:txBody>
      </p:sp>
    </p:spTree>
    <p:extLst>
      <p:ext uri="{BB962C8B-B14F-4D97-AF65-F5344CB8AC3E}">
        <p14:creationId xmlns:p14="http://schemas.microsoft.com/office/powerpoint/2010/main" val="1087739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DAABE-5A0D-0217-4491-C728C2EAC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a Factory?</a:t>
            </a:r>
            <a:endParaRPr lang="en-I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88920B-6EB9-B213-77F3-A33B7A8EC4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A means of taking in data and outputting a given object based on rules</a:t>
            </a:r>
          </a:p>
          <a:p>
            <a:pPr marL="0" indent="0">
              <a:buNone/>
            </a:pPr>
            <a:r>
              <a:rPr lang="en-GB" dirty="0"/>
              <a:t>Why is this useful?</a:t>
            </a:r>
          </a:p>
          <a:p>
            <a:r>
              <a:rPr lang="en-GB" dirty="0"/>
              <a:t>Separation of concerns</a:t>
            </a:r>
          </a:p>
          <a:p>
            <a:r>
              <a:rPr lang="en-GB" dirty="0"/>
              <a:t>De-coupling of code</a:t>
            </a:r>
          </a:p>
          <a:p>
            <a:r>
              <a:rPr lang="en-GB" dirty="0"/>
              <a:t>Ease of maintenance</a:t>
            </a:r>
          </a:p>
          <a:p>
            <a:pPr marL="0" indent="0">
              <a:buNone/>
            </a:pPr>
            <a:r>
              <a:rPr lang="en-GB" dirty="0"/>
              <a:t>When should we use a Factory?</a:t>
            </a:r>
          </a:p>
          <a:p>
            <a:pPr marL="0" indent="0">
              <a:buNone/>
            </a:pPr>
            <a:r>
              <a:rPr lang="en-GB" dirty="0"/>
              <a:t>When we don’t know in advance the exact types we will be using with the code</a:t>
            </a:r>
          </a:p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995232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FA64F2-6C73-B6C9-A8EE-5B68C7EC53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ctory Example</a:t>
            </a:r>
            <a:endParaRPr lang="en-I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B5D0BA-9EE5-E93B-0BA2-08A4791DE5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A fee calculator for different kind of payments, e.g. Cash, Card, Google Pay, etc.</a:t>
            </a:r>
            <a:endParaRPr lang="en-I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4D0115D-E074-D8C1-527D-AFF0AB7FFE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8578" y="3090901"/>
            <a:ext cx="6716062" cy="2572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472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A11F-B56F-9683-0D78-887C2FCF2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pPr algn="ctr"/>
            <a:r>
              <a:rPr lang="en-GB" dirty="0"/>
              <a:t>Factory Pattern Demo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8580439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DAABE-5A0D-0217-4491-C728C2EAC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stract Factory Pattern Overview	</a:t>
            </a:r>
            <a:endParaRPr lang="en-I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88920B-6EB9-B213-77F3-A33B7A8EC4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dirty="0"/>
              <a:t>Commonly referred to as a “Factory of factories”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When should we use Abstract Factory?</a:t>
            </a:r>
          </a:p>
          <a:p>
            <a:pPr marL="0" indent="0">
              <a:buNone/>
            </a:pPr>
            <a:r>
              <a:rPr lang="en-GB" dirty="0"/>
              <a:t>When various “families” of related classes are required to be built based on dynamic conten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Why is this useful?</a:t>
            </a:r>
          </a:p>
          <a:p>
            <a:r>
              <a:rPr lang="en-GB" dirty="0"/>
              <a:t>Flexibility in creation of concrete objects</a:t>
            </a:r>
          </a:p>
          <a:p>
            <a:r>
              <a:rPr lang="en-GB" dirty="0"/>
              <a:t>Avoids tight coupling</a:t>
            </a:r>
          </a:p>
          <a:p>
            <a:r>
              <a:rPr lang="en-GB" dirty="0"/>
              <a:t>Adherence to </a:t>
            </a:r>
            <a:r>
              <a:rPr lang="en-GB" b="1" dirty="0"/>
              <a:t>SO</a:t>
            </a:r>
            <a:r>
              <a:rPr lang="en-GB" dirty="0"/>
              <a:t>LID principles</a:t>
            </a:r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5976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63296-BF1A-67B4-37CF-8F8B27B08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Example Structure</a:t>
            </a:r>
            <a:endParaRPr lang="en-IE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8EB8065-B3AB-460F-A030-E5980DD0CE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36305" y="2077077"/>
            <a:ext cx="6119390" cy="3848433"/>
          </a:xfrm>
        </p:spPr>
      </p:pic>
    </p:spTree>
    <p:extLst>
      <p:ext uri="{BB962C8B-B14F-4D97-AF65-F5344CB8AC3E}">
        <p14:creationId xmlns:p14="http://schemas.microsoft.com/office/powerpoint/2010/main" val="17457534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A11F-B56F-9683-0D78-887C2FCF2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pPr algn="ctr"/>
            <a:r>
              <a:rPr lang="en-GB" dirty="0"/>
              <a:t>Abstract Factory Pattern Demo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0650062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1501F-6186-C772-A1E4-3FFC65BB1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810" y="232743"/>
            <a:ext cx="10515600" cy="1325563"/>
          </a:xfrm>
        </p:spPr>
        <p:txBody>
          <a:bodyPr/>
          <a:lstStyle/>
          <a:p>
            <a:pPr algn="ctr"/>
            <a:r>
              <a:rPr lang="en-GB" dirty="0"/>
              <a:t>Breakout Time!</a:t>
            </a:r>
            <a:endParaRPr lang="en-I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B3FF4-36C2-E9D6-7523-2C118A4566F9}"/>
              </a:ext>
            </a:extLst>
          </p:cNvPr>
          <p:cNvSpPr txBox="1"/>
          <p:nvPr/>
        </p:nvSpPr>
        <p:spPr>
          <a:xfrm>
            <a:off x="880844" y="1661134"/>
            <a:ext cx="9655728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You are developing a RPG that involves users creating  a character. You’ve decided to implement an abstract factory to facilitate users creating different characters of different races and classes.</a:t>
            </a:r>
          </a:p>
          <a:p>
            <a:endParaRPr lang="en-IE" sz="2800" dirty="0"/>
          </a:p>
          <a:p>
            <a:r>
              <a:rPr lang="en-IE" sz="2800" dirty="0"/>
              <a:t>The races available are: Human and Elf</a:t>
            </a:r>
          </a:p>
          <a:p>
            <a:r>
              <a:rPr lang="en-IE" sz="2800" dirty="0"/>
              <a:t>The classes available are: Mage, Warrior and Cleric</a:t>
            </a:r>
          </a:p>
          <a:p>
            <a:endParaRPr lang="en-IE" sz="2800" dirty="0"/>
          </a:p>
          <a:p>
            <a:r>
              <a:rPr lang="en-IE" sz="2800" dirty="0"/>
              <a:t>For simplicity you just need to have the various class/race combinations implement a </a:t>
            </a:r>
            <a:r>
              <a:rPr lang="en-IE" sz="2800" dirty="0" err="1"/>
              <a:t>ToString</a:t>
            </a:r>
            <a:r>
              <a:rPr lang="en-IE" sz="2800" dirty="0"/>
              <a:t>() for each that print out the Class/Race combination</a:t>
            </a:r>
          </a:p>
        </p:txBody>
      </p:sp>
    </p:spTree>
    <p:extLst>
      <p:ext uri="{BB962C8B-B14F-4D97-AF65-F5344CB8AC3E}">
        <p14:creationId xmlns:p14="http://schemas.microsoft.com/office/powerpoint/2010/main" val="21971250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DIJj/2IqNFjkK8xSbA9sUEAAAAAAADAAAAAAADAAAAAwADAAEA////////BQAAAAMAEAAL2cAMfYZTEkaixqOlQRJYEwQAAAABAAMAAAACAAMAAAAEAAQAAQD///////8FAAAABAAQAAv1c6rkvr2fQ43+9/LyvhHz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YMgmP/Yio0WOQrzFJsD2xQNEYXRhAFMAAAAIUHJlc2VudGF0aW9uU2Nhbm5lZEZvckxpbmtlZFNoYXBlcwAAAk51bWJlckZvcm1hdFNlcGFyYXRvck1vZGUACgAAAEF1dG9tYXRpYwAAAk5hbWUAJAAAAExpbmtlZFNoYXBlUHJlc2VudGF0aW9uU2V0dGluZ3NEYXRhABBWZXJzaW9uAAAAAAAJTGFzdFdyaXRlAPOPD1qNAQAAAAEA/////4MAgwAAAAVfaWQAEAAAAATZwAx9hlMSRqLGo6VBElgTA0RhdGEAGwAAAARMaW5rZWRTaGFwZURhdGEABQAAAAAAAk5hbWUAGQAAAExpbmtlZFNoYXBlc0RhdGFQcm9wZXJ0eQAQVmVyc2lvbgABAAAACUxhc3RXcml0ZQDzjw9ajQEAAAACAP////+DAIMAAAAFX2lkABAAAAAE9XOq5L69n0ON/vfy8r4R8wNEYXRhABsAAAAETGlua2VkU2hhcGVEYXRhAAUAAAAAAAJOYW1lABkAAABMaW5rZWRTaGFwZXNEYXRhUHJvcGVydHkAEFZlcnNpb24AAAAAAAlMYXN0V3JpdGUAzo8PW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B1CwAAAAAAAAAAAAAgAf///////////////wAAAP////////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YBAwAAAAIA////////JQAGTGlua2VkU2hhcGVQcmVzZW50YXRpb25TZXR0aW5nc0RhdGFfMAQAAAAAAAUAAAAAAAUAAAAEAAUAAAAAAAUAAAAEAAUAAAAAAAUAAAAEAAUAAAAAAAUAAAAEAAUAAAAAAAUAAAAEAAUAAAAAAP///////wMAAgEDAAAAAwD///////8aAAZMaW5rZWRTaGFwZXNEYXRhUHJvcGVydHlfMQQAAAABAAUAAAAEAAUAAAABAAUAAAAEAP///////wQABQEDAAAABAD///////8aAAZMaW5rZWRTaGFwZXNEYXRhUHJvcGVydHlfMAQAAAACAAUAAAACAAUAAAADAAUAAAACAAUAAAADAAUAAAACAP///////wUAAAACAP///////wU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22097859383808"/>
  <p:tag name="EMPOWERCHARTSPROPERTIES_A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4</Words>
  <Application>Microsoft Office PowerPoint</Application>
  <PresentationFormat>Widescreen</PresentationFormat>
  <Paragraphs>61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Calibri Light</vt:lpstr>
      <vt:lpstr>Office Theme</vt:lpstr>
      <vt:lpstr>Abstract Factory Pattern</vt:lpstr>
      <vt:lpstr>What Are Design Patterns?</vt:lpstr>
      <vt:lpstr>What is a Factory?</vt:lpstr>
      <vt:lpstr>Factory Example</vt:lpstr>
      <vt:lpstr>Factory Pattern Demo</vt:lpstr>
      <vt:lpstr>Abstract Factory Pattern Overview </vt:lpstr>
      <vt:lpstr>Example Structure</vt:lpstr>
      <vt:lpstr>Abstract Factory Pattern Demo</vt:lpstr>
      <vt:lpstr>Breakout Time!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stract Factory Pattern</dc:title>
  <dc:creator>Lee Brassil</dc:creator>
  <cp:lastModifiedBy>Lee Brassil</cp:lastModifiedBy>
  <cp:revision>1</cp:revision>
  <dcterms:created xsi:type="dcterms:W3CDTF">2024-01-30T11:19:49Z</dcterms:created>
  <dcterms:modified xsi:type="dcterms:W3CDTF">2024-02-09T12:54:48Z</dcterms:modified>
</cp:coreProperties>
</file>